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55342-1BD5-87D5-78C4-EC8EE96AE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FF9232A-9FF8-D1B7-CFB5-AEED0E010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F9232A-9FF8-D1B7-CFB5-AEED0E010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410F5B-5778-457E-0F47-3015FB217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6DBF28-373B-0FCC-A0F3-769FE927E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BA259646-3E35-D2CD-8F6A-B711FF581B4E}"/>
              </a:ext>
            </a:extLst>
          </p:cNvPr>
          <p:cNvSpPr/>
          <p:nvPr/>
        </p:nvSpPr>
        <p:spPr>
          <a:xfrm>
            <a:off x="7714514" y="2180123"/>
            <a:ext cx="662380" cy="3415813"/>
          </a:xfrm>
          <a:custGeom>
            <a:avLst/>
            <a:gdLst>
              <a:gd name="connsiteX0" fmla="*/ 0 w 868101"/>
              <a:gd name="connsiteY0" fmla="*/ 0 h 3194612"/>
              <a:gd name="connsiteX1" fmla="*/ 868101 w 868101"/>
              <a:gd name="connsiteY1" fmla="*/ 0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2303361 h 3194612"/>
              <a:gd name="connsiteX4" fmla="*/ 0 w 868101"/>
              <a:gd name="connsiteY4" fmla="*/ 0 h 3194612"/>
              <a:gd name="connsiteX0" fmla="*/ 0 w 869214"/>
              <a:gd name="connsiteY0" fmla="*/ 0 h 3194612"/>
              <a:gd name="connsiteX1" fmla="*/ 868101 w 869214"/>
              <a:gd name="connsiteY1" fmla="*/ 1284790 h 3194612"/>
              <a:gd name="connsiteX2" fmla="*/ 868101 w 869214"/>
              <a:gd name="connsiteY2" fmla="*/ 3194612 h 3194612"/>
              <a:gd name="connsiteX3" fmla="*/ 0 w 869214"/>
              <a:gd name="connsiteY3" fmla="*/ 2303361 h 3194612"/>
              <a:gd name="connsiteX4" fmla="*/ 0 w 869214"/>
              <a:gd name="connsiteY4" fmla="*/ 0 h 3194612"/>
              <a:gd name="connsiteX0" fmla="*/ 11575 w 880789"/>
              <a:gd name="connsiteY0" fmla="*/ 0 h 3194612"/>
              <a:gd name="connsiteX1" fmla="*/ 879676 w 880789"/>
              <a:gd name="connsiteY1" fmla="*/ 1284790 h 3194612"/>
              <a:gd name="connsiteX2" fmla="*/ 879676 w 880789"/>
              <a:gd name="connsiteY2" fmla="*/ 3194612 h 3194612"/>
              <a:gd name="connsiteX3" fmla="*/ 0 w 880789"/>
              <a:gd name="connsiteY3" fmla="*/ 1851948 h 3194612"/>
              <a:gd name="connsiteX4" fmla="*/ 11575 w 880789"/>
              <a:gd name="connsiteY4" fmla="*/ 0 h 3194612"/>
              <a:gd name="connsiteX0" fmla="*/ 219919 w 880789"/>
              <a:gd name="connsiteY0" fmla="*/ 0 h 2835797"/>
              <a:gd name="connsiteX1" fmla="*/ 879676 w 880789"/>
              <a:gd name="connsiteY1" fmla="*/ 925975 h 2835797"/>
              <a:gd name="connsiteX2" fmla="*/ 879676 w 880789"/>
              <a:gd name="connsiteY2" fmla="*/ 2835797 h 2835797"/>
              <a:gd name="connsiteX3" fmla="*/ 0 w 880789"/>
              <a:gd name="connsiteY3" fmla="*/ 1493133 h 2835797"/>
              <a:gd name="connsiteX4" fmla="*/ 219919 w 880789"/>
              <a:gd name="connsiteY4" fmla="*/ 0 h 2835797"/>
              <a:gd name="connsiteX0" fmla="*/ 266218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66218 w 880789"/>
              <a:gd name="connsiteY4" fmla="*/ 0 h 2801073"/>
              <a:gd name="connsiteX0" fmla="*/ 219919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19919 w 880789"/>
              <a:gd name="connsiteY4" fmla="*/ 0 h 2801073"/>
              <a:gd name="connsiteX0" fmla="*/ 243069 w 880789"/>
              <a:gd name="connsiteY0" fmla="*/ 0 h 3044142"/>
              <a:gd name="connsiteX1" fmla="*/ 879676 w 880789"/>
              <a:gd name="connsiteY1" fmla="*/ 1134320 h 3044142"/>
              <a:gd name="connsiteX2" fmla="*/ 879676 w 880789"/>
              <a:gd name="connsiteY2" fmla="*/ 3044142 h 3044142"/>
              <a:gd name="connsiteX3" fmla="*/ 0 w 880789"/>
              <a:gd name="connsiteY3" fmla="*/ 1701478 h 3044142"/>
              <a:gd name="connsiteX4" fmla="*/ 243069 w 880789"/>
              <a:gd name="connsiteY4" fmla="*/ 0 h 3044142"/>
              <a:gd name="connsiteX0" fmla="*/ 104173 w 741893"/>
              <a:gd name="connsiteY0" fmla="*/ 0 h 3044142"/>
              <a:gd name="connsiteX1" fmla="*/ 740780 w 741893"/>
              <a:gd name="connsiteY1" fmla="*/ 1134320 h 3044142"/>
              <a:gd name="connsiteX2" fmla="*/ 740780 w 741893"/>
              <a:gd name="connsiteY2" fmla="*/ 3044142 h 3044142"/>
              <a:gd name="connsiteX3" fmla="*/ 0 w 741893"/>
              <a:gd name="connsiteY3" fmla="*/ 1678328 h 3044142"/>
              <a:gd name="connsiteX4" fmla="*/ 104173 w 741893"/>
              <a:gd name="connsiteY4" fmla="*/ 0 h 3044142"/>
              <a:gd name="connsiteX0" fmla="*/ 104173 w 740828"/>
              <a:gd name="connsiteY0" fmla="*/ 0 h 2639028"/>
              <a:gd name="connsiteX1" fmla="*/ 740780 w 740828"/>
              <a:gd name="connsiteY1" fmla="*/ 1134320 h 2639028"/>
              <a:gd name="connsiteX2" fmla="*/ 520861 w 740828"/>
              <a:gd name="connsiteY2" fmla="*/ 2639028 h 2639028"/>
              <a:gd name="connsiteX3" fmla="*/ 0 w 740828"/>
              <a:gd name="connsiteY3" fmla="*/ 1678328 h 2639028"/>
              <a:gd name="connsiteX4" fmla="*/ 104173 w 740828"/>
              <a:gd name="connsiteY4" fmla="*/ 0 h 2639028"/>
              <a:gd name="connsiteX0" fmla="*/ 104173 w 567357"/>
              <a:gd name="connsiteY0" fmla="*/ 0 h 2639028"/>
              <a:gd name="connsiteX1" fmla="*/ 567160 w 567357"/>
              <a:gd name="connsiteY1" fmla="*/ 833378 h 2639028"/>
              <a:gd name="connsiteX2" fmla="*/ 520861 w 567357"/>
              <a:gd name="connsiteY2" fmla="*/ 2639028 h 2639028"/>
              <a:gd name="connsiteX3" fmla="*/ 0 w 567357"/>
              <a:gd name="connsiteY3" fmla="*/ 1678328 h 2639028"/>
              <a:gd name="connsiteX4" fmla="*/ 104173 w 567357"/>
              <a:gd name="connsiteY4" fmla="*/ 0 h 2639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357" h="2639028">
                <a:moveTo>
                  <a:pt x="104173" y="0"/>
                </a:moveTo>
                <a:lnTo>
                  <a:pt x="567160" y="833378"/>
                </a:lnTo>
                <a:cubicBezTo>
                  <a:pt x="571018" y="1659038"/>
                  <a:pt x="517003" y="1813368"/>
                  <a:pt x="520861" y="2639028"/>
                </a:cubicBezTo>
                <a:lnTo>
                  <a:pt x="0" y="1678328"/>
                </a:lnTo>
                <a:cubicBezTo>
                  <a:pt x="3858" y="1061012"/>
                  <a:pt x="100315" y="617316"/>
                  <a:pt x="10417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980D7AD-CFE6-A7DA-3CAA-55027BB43303}"/>
              </a:ext>
            </a:extLst>
          </p:cNvPr>
          <p:cNvSpPr/>
          <p:nvPr/>
        </p:nvSpPr>
        <p:spPr>
          <a:xfrm>
            <a:off x="3160947" y="2180125"/>
            <a:ext cx="662380" cy="3485131"/>
          </a:xfrm>
          <a:custGeom>
            <a:avLst/>
            <a:gdLst>
              <a:gd name="connsiteX0" fmla="*/ 0 w 868101"/>
              <a:gd name="connsiteY0" fmla="*/ 0 h 3194612"/>
              <a:gd name="connsiteX1" fmla="*/ 868101 w 868101"/>
              <a:gd name="connsiteY1" fmla="*/ 0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2303361 h 3194612"/>
              <a:gd name="connsiteX4" fmla="*/ 0 w 868101"/>
              <a:gd name="connsiteY4" fmla="*/ 0 h 3194612"/>
              <a:gd name="connsiteX0" fmla="*/ 0 w 869214"/>
              <a:gd name="connsiteY0" fmla="*/ 0 h 3194612"/>
              <a:gd name="connsiteX1" fmla="*/ 868101 w 869214"/>
              <a:gd name="connsiteY1" fmla="*/ 1284790 h 3194612"/>
              <a:gd name="connsiteX2" fmla="*/ 868101 w 869214"/>
              <a:gd name="connsiteY2" fmla="*/ 3194612 h 3194612"/>
              <a:gd name="connsiteX3" fmla="*/ 0 w 869214"/>
              <a:gd name="connsiteY3" fmla="*/ 2303361 h 3194612"/>
              <a:gd name="connsiteX4" fmla="*/ 0 w 869214"/>
              <a:gd name="connsiteY4" fmla="*/ 0 h 3194612"/>
              <a:gd name="connsiteX0" fmla="*/ 11575 w 880789"/>
              <a:gd name="connsiteY0" fmla="*/ 0 h 3194612"/>
              <a:gd name="connsiteX1" fmla="*/ 879676 w 880789"/>
              <a:gd name="connsiteY1" fmla="*/ 1284790 h 3194612"/>
              <a:gd name="connsiteX2" fmla="*/ 879676 w 880789"/>
              <a:gd name="connsiteY2" fmla="*/ 3194612 h 3194612"/>
              <a:gd name="connsiteX3" fmla="*/ 0 w 880789"/>
              <a:gd name="connsiteY3" fmla="*/ 1851948 h 3194612"/>
              <a:gd name="connsiteX4" fmla="*/ 11575 w 880789"/>
              <a:gd name="connsiteY4" fmla="*/ 0 h 3194612"/>
              <a:gd name="connsiteX0" fmla="*/ 219919 w 880789"/>
              <a:gd name="connsiteY0" fmla="*/ 0 h 2835797"/>
              <a:gd name="connsiteX1" fmla="*/ 879676 w 880789"/>
              <a:gd name="connsiteY1" fmla="*/ 925975 h 2835797"/>
              <a:gd name="connsiteX2" fmla="*/ 879676 w 880789"/>
              <a:gd name="connsiteY2" fmla="*/ 2835797 h 2835797"/>
              <a:gd name="connsiteX3" fmla="*/ 0 w 880789"/>
              <a:gd name="connsiteY3" fmla="*/ 1493133 h 2835797"/>
              <a:gd name="connsiteX4" fmla="*/ 219919 w 880789"/>
              <a:gd name="connsiteY4" fmla="*/ 0 h 2835797"/>
              <a:gd name="connsiteX0" fmla="*/ 266218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66218 w 880789"/>
              <a:gd name="connsiteY4" fmla="*/ 0 h 2801073"/>
              <a:gd name="connsiteX0" fmla="*/ 219919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19919 w 880789"/>
              <a:gd name="connsiteY4" fmla="*/ 0 h 2801073"/>
              <a:gd name="connsiteX0" fmla="*/ 243069 w 880789"/>
              <a:gd name="connsiteY0" fmla="*/ 0 h 3044142"/>
              <a:gd name="connsiteX1" fmla="*/ 879676 w 880789"/>
              <a:gd name="connsiteY1" fmla="*/ 1134320 h 3044142"/>
              <a:gd name="connsiteX2" fmla="*/ 879676 w 880789"/>
              <a:gd name="connsiteY2" fmla="*/ 3044142 h 3044142"/>
              <a:gd name="connsiteX3" fmla="*/ 0 w 880789"/>
              <a:gd name="connsiteY3" fmla="*/ 1701478 h 3044142"/>
              <a:gd name="connsiteX4" fmla="*/ 243069 w 880789"/>
              <a:gd name="connsiteY4" fmla="*/ 0 h 3044142"/>
              <a:gd name="connsiteX0" fmla="*/ 104173 w 741893"/>
              <a:gd name="connsiteY0" fmla="*/ 0 h 3044142"/>
              <a:gd name="connsiteX1" fmla="*/ 740780 w 741893"/>
              <a:gd name="connsiteY1" fmla="*/ 1134320 h 3044142"/>
              <a:gd name="connsiteX2" fmla="*/ 740780 w 741893"/>
              <a:gd name="connsiteY2" fmla="*/ 3044142 h 3044142"/>
              <a:gd name="connsiteX3" fmla="*/ 0 w 741893"/>
              <a:gd name="connsiteY3" fmla="*/ 1678328 h 3044142"/>
              <a:gd name="connsiteX4" fmla="*/ 104173 w 741893"/>
              <a:gd name="connsiteY4" fmla="*/ 0 h 3044142"/>
              <a:gd name="connsiteX0" fmla="*/ 104173 w 740828"/>
              <a:gd name="connsiteY0" fmla="*/ 0 h 2639028"/>
              <a:gd name="connsiteX1" fmla="*/ 740780 w 740828"/>
              <a:gd name="connsiteY1" fmla="*/ 1134320 h 2639028"/>
              <a:gd name="connsiteX2" fmla="*/ 520861 w 740828"/>
              <a:gd name="connsiteY2" fmla="*/ 2639028 h 2639028"/>
              <a:gd name="connsiteX3" fmla="*/ 0 w 740828"/>
              <a:gd name="connsiteY3" fmla="*/ 1678328 h 2639028"/>
              <a:gd name="connsiteX4" fmla="*/ 104173 w 740828"/>
              <a:gd name="connsiteY4" fmla="*/ 0 h 2639028"/>
              <a:gd name="connsiteX0" fmla="*/ 104173 w 567357"/>
              <a:gd name="connsiteY0" fmla="*/ 0 h 2639028"/>
              <a:gd name="connsiteX1" fmla="*/ 567160 w 567357"/>
              <a:gd name="connsiteY1" fmla="*/ 833378 h 2639028"/>
              <a:gd name="connsiteX2" fmla="*/ 520861 w 567357"/>
              <a:gd name="connsiteY2" fmla="*/ 2639028 h 2639028"/>
              <a:gd name="connsiteX3" fmla="*/ 0 w 567357"/>
              <a:gd name="connsiteY3" fmla="*/ 1678328 h 2639028"/>
              <a:gd name="connsiteX4" fmla="*/ 104173 w 567357"/>
              <a:gd name="connsiteY4" fmla="*/ 0 h 2639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357" h="2639028">
                <a:moveTo>
                  <a:pt x="104173" y="0"/>
                </a:moveTo>
                <a:lnTo>
                  <a:pt x="567160" y="833378"/>
                </a:lnTo>
                <a:cubicBezTo>
                  <a:pt x="571018" y="1659038"/>
                  <a:pt x="517003" y="1813368"/>
                  <a:pt x="520861" y="2639028"/>
                </a:cubicBezTo>
                <a:lnTo>
                  <a:pt x="0" y="1678328"/>
                </a:lnTo>
                <a:cubicBezTo>
                  <a:pt x="3858" y="1061012"/>
                  <a:pt x="100315" y="617316"/>
                  <a:pt x="10417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143B118-B73F-FEDA-9699-6FE1868335F1}"/>
              </a:ext>
            </a:extLst>
          </p:cNvPr>
          <p:cNvSpPr/>
          <p:nvPr/>
        </p:nvSpPr>
        <p:spPr>
          <a:xfrm>
            <a:off x="5415615" y="2212186"/>
            <a:ext cx="662380" cy="3383751"/>
          </a:xfrm>
          <a:custGeom>
            <a:avLst/>
            <a:gdLst>
              <a:gd name="connsiteX0" fmla="*/ 0 w 868101"/>
              <a:gd name="connsiteY0" fmla="*/ 0 h 3194612"/>
              <a:gd name="connsiteX1" fmla="*/ 868101 w 868101"/>
              <a:gd name="connsiteY1" fmla="*/ 0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2303361 h 3194612"/>
              <a:gd name="connsiteX4" fmla="*/ 0 w 868101"/>
              <a:gd name="connsiteY4" fmla="*/ 0 h 3194612"/>
              <a:gd name="connsiteX0" fmla="*/ 0 w 869214"/>
              <a:gd name="connsiteY0" fmla="*/ 0 h 3194612"/>
              <a:gd name="connsiteX1" fmla="*/ 868101 w 869214"/>
              <a:gd name="connsiteY1" fmla="*/ 1284790 h 3194612"/>
              <a:gd name="connsiteX2" fmla="*/ 868101 w 869214"/>
              <a:gd name="connsiteY2" fmla="*/ 3194612 h 3194612"/>
              <a:gd name="connsiteX3" fmla="*/ 0 w 869214"/>
              <a:gd name="connsiteY3" fmla="*/ 2303361 h 3194612"/>
              <a:gd name="connsiteX4" fmla="*/ 0 w 869214"/>
              <a:gd name="connsiteY4" fmla="*/ 0 h 3194612"/>
              <a:gd name="connsiteX0" fmla="*/ 11575 w 880789"/>
              <a:gd name="connsiteY0" fmla="*/ 0 h 3194612"/>
              <a:gd name="connsiteX1" fmla="*/ 879676 w 880789"/>
              <a:gd name="connsiteY1" fmla="*/ 1284790 h 3194612"/>
              <a:gd name="connsiteX2" fmla="*/ 879676 w 880789"/>
              <a:gd name="connsiteY2" fmla="*/ 3194612 h 3194612"/>
              <a:gd name="connsiteX3" fmla="*/ 0 w 880789"/>
              <a:gd name="connsiteY3" fmla="*/ 1851948 h 3194612"/>
              <a:gd name="connsiteX4" fmla="*/ 11575 w 880789"/>
              <a:gd name="connsiteY4" fmla="*/ 0 h 3194612"/>
              <a:gd name="connsiteX0" fmla="*/ 219919 w 880789"/>
              <a:gd name="connsiteY0" fmla="*/ 0 h 2835797"/>
              <a:gd name="connsiteX1" fmla="*/ 879676 w 880789"/>
              <a:gd name="connsiteY1" fmla="*/ 925975 h 2835797"/>
              <a:gd name="connsiteX2" fmla="*/ 879676 w 880789"/>
              <a:gd name="connsiteY2" fmla="*/ 2835797 h 2835797"/>
              <a:gd name="connsiteX3" fmla="*/ 0 w 880789"/>
              <a:gd name="connsiteY3" fmla="*/ 1493133 h 2835797"/>
              <a:gd name="connsiteX4" fmla="*/ 219919 w 880789"/>
              <a:gd name="connsiteY4" fmla="*/ 0 h 2835797"/>
              <a:gd name="connsiteX0" fmla="*/ 266218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66218 w 880789"/>
              <a:gd name="connsiteY4" fmla="*/ 0 h 2801073"/>
              <a:gd name="connsiteX0" fmla="*/ 219919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19919 w 880789"/>
              <a:gd name="connsiteY4" fmla="*/ 0 h 2801073"/>
              <a:gd name="connsiteX0" fmla="*/ 243069 w 880789"/>
              <a:gd name="connsiteY0" fmla="*/ 0 h 3044142"/>
              <a:gd name="connsiteX1" fmla="*/ 879676 w 880789"/>
              <a:gd name="connsiteY1" fmla="*/ 1134320 h 3044142"/>
              <a:gd name="connsiteX2" fmla="*/ 879676 w 880789"/>
              <a:gd name="connsiteY2" fmla="*/ 3044142 h 3044142"/>
              <a:gd name="connsiteX3" fmla="*/ 0 w 880789"/>
              <a:gd name="connsiteY3" fmla="*/ 1701478 h 3044142"/>
              <a:gd name="connsiteX4" fmla="*/ 243069 w 880789"/>
              <a:gd name="connsiteY4" fmla="*/ 0 h 3044142"/>
              <a:gd name="connsiteX0" fmla="*/ 104173 w 741893"/>
              <a:gd name="connsiteY0" fmla="*/ 0 h 3044142"/>
              <a:gd name="connsiteX1" fmla="*/ 740780 w 741893"/>
              <a:gd name="connsiteY1" fmla="*/ 1134320 h 3044142"/>
              <a:gd name="connsiteX2" fmla="*/ 740780 w 741893"/>
              <a:gd name="connsiteY2" fmla="*/ 3044142 h 3044142"/>
              <a:gd name="connsiteX3" fmla="*/ 0 w 741893"/>
              <a:gd name="connsiteY3" fmla="*/ 1678328 h 3044142"/>
              <a:gd name="connsiteX4" fmla="*/ 104173 w 741893"/>
              <a:gd name="connsiteY4" fmla="*/ 0 h 3044142"/>
              <a:gd name="connsiteX0" fmla="*/ 104173 w 740828"/>
              <a:gd name="connsiteY0" fmla="*/ 0 h 2639028"/>
              <a:gd name="connsiteX1" fmla="*/ 740780 w 740828"/>
              <a:gd name="connsiteY1" fmla="*/ 1134320 h 2639028"/>
              <a:gd name="connsiteX2" fmla="*/ 520861 w 740828"/>
              <a:gd name="connsiteY2" fmla="*/ 2639028 h 2639028"/>
              <a:gd name="connsiteX3" fmla="*/ 0 w 740828"/>
              <a:gd name="connsiteY3" fmla="*/ 1678328 h 2639028"/>
              <a:gd name="connsiteX4" fmla="*/ 104173 w 740828"/>
              <a:gd name="connsiteY4" fmla="*/ 0 h 2639028"/>
              <a:gd name="connsiteX0" fmla="*/ 104173 w 567357"/>
              <a:gd name="connsiteY0" fmla="*/ 0 h 2639028"/>
              <a:gd name="connsiteX1" fmla="*/ 567160 w 567357"/>
              <a:gd name="connsiteY1" fmla="*/ 833378 h 2639028"/>
              <a:gd name="connsiteX2" fmla="*/ 520861 w 567357"/>
              <a:gd name="connsiteY2" fmla="*/ 2639028 h 2639028"/>
              <a:gd name="connsiteX3" fmla="*/ 0 w 567357"/>
              <a:gd name="connsiteY3" fmla="*/ 1678328 h 2639028"/>
              <a:gd name="connsiteX4" fmla="*/ 104173 w 567357"/>
              <a:gd name="connsiteY4" fmla="*/ 0 h 2639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357" h="2639028">
                <a:moveTo>
                  <a:pt x="104173" y="0"/>
                </a:moveTo>
                <a:lnTo>
                  <a:pt x="567160" y="833378"/>
                </a:lnTo>
                <a:cubicBezTo>
                  <a:pt x="571018" y="1659038"/>
                  <a:pt x="517003" y="1813368"/>
                  <a:pt x="520861" y="2639028"/>
                </a:cubicBezTo>
                <a:lnTo>
                  <a:pt x="0" y="1678328"/>
                </a:lnTo>
                <a:cubicBezTo>
                  <a:pt x="3858" y="1061012"/>
                  <a:pt x="100315" y="617316"/>
                  <a:pt x="10417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8" name="Right Arrow 12">
            <a:extLst>
              <a:ext uri="{FF2B5EF4-FFF2-40B4-BE49-F238E27FC236}">
                <a16:creationId xmlns:a16="http://schemas.microsoft.com/office/drawing/2014/main" id="{7CC25982-2DE8-68AE-A8BD-6A607034EE52}"/>
              </a:ext>
            </a:extLst>
          </p:cNvPr>
          <p:cNvSpPr/>
          <p:nvPr/>
        </p:nvSpPr>
        <p:spPr>
          <a:xfrm>
            <a:off x="594167" y="2385919"/>
            <a:ext cx="11003666" cy="3018601"/>
          </a:xfrm>
          <a:custGeom>
            <a:avLst/>
            <a:gdLst>
              <a:gd name="connsiteX0" fmla="*/ 0 w 8633949"/>
              <a:gd name="connsiteY0" fmla="*/ 275615 h 2913481"/>
              <a:gd name="connsiteX1" fmla="*/ 7873618 w 8633949"/>
              <a:gd name="connsiteY1" fmla="*/ 275615 h 2913481"/>
              <a:gd name="connsiteX2" fmla="*/ 7873618 w 8633949"/>
              <a:gd name="connsiteY2" fmla="*/ 0 h 2913481"/>
              <a:gd name="connsiteX3" fmla="*/ 8633949 w 8633949"/>
              <a:gd name="connsiteY3" fmla="*/ 1456741 h 2913481"/>
              <a:gd name="connsiteX4" fmla="*/ 7873618 w 8633949"/>
              <a:gd name="connsiteY4" fmla="*/ 2913481 h 2913481"/>
              <a:gd name="connsiteX5" fmla="*/ 7873618 w 8633949"/>
              <a:gd name="connsiteY5" fmla="*/ 2637866 h 2913481"/>
              <a:gd name="connsiteX6" fmla="*/ 0 w 8633949"/>
              <a:gd name="connsiteY6" fmla="*/ 2637866 h 2913481"/>
              <a:gd name="connsiteX7" fmla="*/ 0 w 8633949"/>
              <a:gd name="connsiteY7" fmla="*/ 275615 h 2913481"/>
              <a:gd name="connsiteX0" fmla="*/ 8397 w 8642346"/>
              <a:gd name="connsiteY0" fmla="*/ 275615 h 2913481"/>
              <a:gd name="connsiteX1" fmla="*/ 7882015 w 8642346"/>
              <a:gd name="connsiteY1" fmla="*/ 275615 h 2913481"/>
              <a:gd name="connsiteX2" fmla="*/ 7882015 w 8642346"/>
              <a:gd name="connsiteY2" fmla="*/ 0 h 2913481"/>
              <a:gd name="connsiteX3" fmla="*/ 8642346 w 8642346"/>
              <a:gd name="connsiteY3" fmla="*/ 1456741 h 2913481"/>
              <a:gd name="connsiteX4" fmla="*/ 7882015 w 8642346"/>
              <a:gd name="connsiteY4" fmla="*/ 2913481 h 2913481"/>
              <a:gd name="connsiteX5" fmla="*/ 7882015 w 8642346"/>
              <a:gd name="connsiteY5" fmla="*/ 2637866 h 2913481"/>
              <a:gd name="connsiteX6" fmla="*/ 8397 w 8642346"/>
              <a:gd name="connsiteY6" fmla="*/ 2637866 h 2913481"/>
              <a:gd name="connsiteX7" fmla="*/ 0 w 8642346"/>
              <a:gd name="connsiteY7" fmla="*/ 1369689 h 2913481"/>
              <a:gd name="connsiteX8" fmla="*/ 8397 w 8642346"/>
              <a:gd name="connsiteY8" fmla="*/ 275615 h 2913481"/>
              <a:gd name="connsiteX0" fmla="*/ 0 w 8633949"/>
              <a:gd name="connsiteY0" fmla="*/ 275615 h 2913481"/>
              <a:gd name="connsiteX1" fmla="*/ 7873618 w 8633949"/>
              <a:gd name="connsiteY1" fmla="*/ 275615 h 2913481"/>
              <a:gd name="connsiteX2" fmla="*/ 7873618 w 8633949"/>
              <a:gd name="connsiteY2" fmla="*/ 0 h 2913481"/>
              <a:gd name="connsiteX3" fmla="*/ 8633949 w 8633949"/>
              <a:gd name="connsiteY3" fmla="*/ 1456741 h 2913481"/>
              <a:gd name="connsiteX4" fmla="*/ 7873618 w 8633949"/>
              <a:gd name="connsiteY4" fmla="*/ 2913481 h 2913481"/>
              <a:gd name="connsiteX5" fmla="*/ 7873618 w 8633949"/>
              <a:gd name="connsiteY5" fmla="*/ 2637866 h 2913481"/>
              <a:gd name="connsiteX6" fmla="*/ 0 w 8633949"/>
              <a:gd name="connsiteY6" fmla="*/ 2637866 h 2913481"/>
              <a:gd name="connsiteX7" fmla="*/ 288486 w 8633949"/>
              <a:gd name="connsiteY7" fmla="*/ 1393439 h 2913481"/>
              <a:gd name="connsiteX8" fmla="*/ 0 w 8633949"/>
              <a:gd name="connsiteY8" fmla="*/ 275615 h 29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3949" h="2913481">
                <a:moveTo>
                  <a:pt x="0" y="275615"/>
                </a:moveTo>
                <a:lnTo>
                  <a:pt x="7873618" y="275615"/>
                </a:lnTo>
                <a:lnTo>
                  <a:pt x="7873618" y="0"/>
                </a:lnTo>
                <a:lnTo>
                  <a:pt x="8633949" y="1456741"/>
                </a:lnTo>
                <a:lnTo>
                  <a:pt x="7873618" y="2913481"/>
                </a:lnTo>
                <a:lnTo>
                  <a:pt x="7873618" y="2637866"/>
                </a:lnTo>
                <a:lnTo>
                  <a:pt x="0" y="2637866"/>
                </a:lnTo>
                <a:lnTo>
                  <a:pt x="288486" y="1393439"/>
                </a:lnTo>
                <a:lnTo>
                  <a:pt x="0" y="27561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9" name="Rounded Rectangle 32">
            <a:extLst>
              <a:ext uri="{FF2B5EF4-FFF2-40B4-BE49-F238E27FC236}">
                <a16:creationId xmlns:a16="http://schemas.microsoft.com/office/drawing/2014/main" id="{D6012495-72B3-01DA-D157-C97E4885D302}"/>
              </a:ext>
            </a:extLst>
          </p:cNvPr>
          <p:cNvSpPr/>
          <p:nvPr/>
        </p:nvSpPr>
        <p:spPr>
          <a:xfrm>
            <a:off x="1469378" y="2036515"/>
            <a:ext cx="1839296" cy="3729651"/>
          </a:xfrm>
          <a:prstGeom prst="roundRect">
            <a:avLst>
              <a:gd name="adj" fmla="val 1359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0" name="Rounded Rectangle 33">
            <a:extLst>
              <a:ext uri="{FF2B5EF4-FFF2-40B4-BE49-F238E27FC236}">
                <a16:creationId xmlns:a16="http://schemas.microsoft.com/office/drawing/2014/main" id="{F6AD6F69-C3C2-FD4D-599D-269E31A679B7}"/>
              </a:ext>
            </a:extLst>
          </p:cNvPr>
          <p:cNvSpPr/>
          <p:nvPr/>
        </p:nvSpPr>
        <p:spPr>
          <a:xfrm>
            <a:off x="3712581" y="2036515"/>
            <a:ext cx="1839296" cy="3729651"/>
          </a:xfrm>
          <a:prstGeom prst="roundRect">
            <a:avLst>
              <a:gd name="adj" fmla="val 1359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1" name="Rounded Rectangle 34">
            <a:extLst>
              <a:ext uri="{FF2B5EF4-FFF2-40B4-BE49-F238E27FC236}">
                <a16:creationId xmlns:a16="http://schemas.microsoft.com/office/drawing/2014/main" id="{85F54144-3BC4-0056-85AD-448A7482A9E5}"/>
              </a:ext>
            </a:extLst>
          </p:cNvPr>
          <p:cNvSpPr/>
          <p:nvPr/>
        </p:nvSpPr>
        <p:spPr>
          <a:xfrm>
            <a:off x="6025590" y="2036515"/>
            <a:ext cx="1839296" cy="3729651"/>
          </a:xfrm>
          <a:prstGeom prst="roundRect">
            <a:avLst>
              <a:gd name="adj" fmla="val 13599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2" name="Rounded Rectangle 35">
            <a:extLst>
              <a:ext uri="{FF2B5EF4-FFF2-40B4-BE49-F238E27FC236}">
                <a16:creationId xmlns:a16="http://schemas.microsoft.com/office/drawing/2014/main" id="{8BF92D12-5D5E-E88C-2034-E78BEC7F3A34}"/>
              </a:ext>
            </a:extLst>
          </p:cNvPr>
          <p:cNvSpPr/>
          <p:nvPr/>
        </p:nvSpPr>
        <p:spPr>
          <a:xfrm>
            <a:off x="8309327" y="2036515"/>
            <a:ext cx="1839296" cy="3729651"/>
          </a:xfrm>
          <a:prstGeom prst="roundRect">
            <a:avLst>
              <a:gd name="adj" fmla="val 135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3" name="9 Rectángulo">
            <a:extLst>
              <a:ext uri="{FF2B5EF4-FFF2-40B4-BE49-F238E27FC236}">
                <a16:creationId xmlns:a16="http://schemas.microsoft.com/office/drawing/2014/main" id="{15FA540B-C370-D704-EC3E-EA9680180A89}"/>
              </a:ext>
            </a:extLst>
          </p:cNvPr>
          <p:cNvSpPr/>
          <p:nvPr/>
        </p:nvSpPr>
        <p:spPr>
          <a:xfrm>
            <a:off x="1585210" y="2405276"/>
            <a:ext cx="1621086" cy="315770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r>
              <a:rPr lang="en-US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Header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9 Rectángulo">
            <a:extLst>
              <a:ext uri="{FF2B5EF4-FFF2-40B4-BE49-F238E27FC236}">
                <a16:creationId xmlns:a16="http://schemas.microsoft.com/office/drawing/2014/main" id="{93761E3A-C116-A1A4-3352-75B12EB64059}"/>
              </a:ext>
            </a:extLst>
          </p:cNvPr>
          <p:cNvSpPr/>
          <p:nvPr/>
        </p:nvSpPr>
        <p:spPr>
          <a:xfrm>
            <a:off x="3866091" y="2405276"/>
            <a:ext cx="1484082" cy="315770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r>
              <a:rPr lang="en-US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Header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9 Rectángulo">
            <a:extLst>
              <a:ext uri="{FF2B5EF4-FFF2-40B4-BE49-F238E27FC236}">
                <a16:creationId xmlns:a16="http://schemas.microsoft.com/office/drawing/2014/main" id="{94EFE1EC-97CB-5BB0-96A7-9295DF6A0EDA}"/>
              </a:ext>
            </a:extLst>
          </p:cNvPr>
          <p:cNvSpPr/>
          <p:nvPr/>
        </p:nvSpPr>
        <p:spPr>
          <a:xfrm>
            <a:off x="6171430" y="2405276"/>
            <a:ext cx="1623728" cy="315770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r>
              <a:rPr lang="en-US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Header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9 Rectángulo">
            <a:extLst>
              <a:ext uri="{FF2B5EF4-FFF2-40B4-BE49-F238E27FC236}">
                <a16:creationId xmlns:a16="http://schemas.microsoft.com/office/drawing/2014/main" id="{8DED9551-77A9-6793-9A39-B6C5420479BF}"/>
              </a:ext>
            </a:extLst>
          </p:cNvPr>
          <p:cNvSpPr/>
          <p:nvPr/>
        </p:nvSpPr>
        <p:spPr>
          <a:xfrm>
            <a:off x="8458400" y="2403643"/>
            <a:ext cx="1527082" cy="315770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r>
              <a:rPr lang="en-US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Header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5D9405-8EBB-6D78-728F-94729E4D0FD7}"/>
              </a:ext>
            </a:extLst>
          </p:cNvPr>
          <p:cNvSpPr txBox="1"/>
          <p:nvPr/>
        </p:nvSpPr>
        <p:spPr>
          <a:xfrm>
            <a:off x="1544312" y="2808239"/>
            <a:ext cx="159609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cs typeface="Calibri" pitchFamily="34" charset="0"/>
              </a:rPr>
              <a:t>This is a sample text. You simply add your own text </a:t>
            </a:r>
          </a:p>
          <a:p>
            <a:br>
              <a:rPr lang="en-US" sz="1200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  <a:p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2760BB-B0A8-B442-E1EE-DE1B7F322E46}"/>
              </a:ext>
            </a:extLst>
          </p:cNvPr>
          <p:cNvSpPr txBox="1"/>
          <p:nvPr/>
        </p:nvSpPr>
        <p:spPr>
          <a:xfrm>
            <a:off x="3800909" y="2830481"/>
            <a:ext cx="161916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cs typeface="Calibri" pitchFamily="34" charset="0"/>
              </a:rPr>
              <a:t>This is a sample text. You simply add your own text </a:t>
            </a:r>
          </a:p>
          <a:p>
            <a:br>
              <a:rPr lang="en-US" sz="1200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  <a:p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691E323-4FDB-5773-8A67-DCA814BCE789}"/>
              </a:ext>
            </a:extLst>
          </p:cNvPr>
          <p:cNvSpPr txBox="1"/>
          <p:nvPr/>
        </p:nvSpPr>
        <p:spPr>
          <a:xfrm>
            <a:off x="6127154" y="2819359"/>
            <a:ext cx="150585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cs typeface="Calibri" pitchFamily="34" charset="0"/>
              </a:rPr>
              <a:t>This is a sample text. You simply add your own text </a:t>
            </a:r>
          </a:p>
          <a:p>
            <a:br>
              <a:rPr lang="en-US" sz="1200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  <a:p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818CA2-B5B4-3C04-92C0-615D2E70278E}"/>
              </a:ext>
            </a:extLst>
          </p:cNvPr>
          <p:cNvSpPr txBox="1"/>
          <p:nvPr/>
        </p:nvSpPr>
        <p:spPr>
          <a:xfrm>
            <a:off x="8408624" y="2808239"/>
            <a:ext cx="159300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cs typeface="Calibri" pitchFamily="34" charset="0"/>
              </a:rPr>
              <a:t>This is a sample text. You simply add your own text </a:t>
            </a:r>
          </a:p>
          <a:p>
            <a:br>
              <a:rPr lang="en-US" sz="1200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  <a:p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813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1</TotalTime>
  <Words>154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Verdana</vt:lpstr>
      <vt:lpstr>Wingdings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23</cp:revision>
  <dcterms:created xsi:type="dcterms:W3CDTF">2021-03-31T02:49:57Z</dcterms:created>
  <dcterms:modified xsi:type="dcterms:W3CDTF">2025-10-16T11:35:58Z</dcterms:modified>
  <cp:category/>
</cp:coreProperties>
</file>